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0"/>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280" r:id="rId14"/>
    <p:sldId id="281" r:id="rId15"/>
    <p:sldId id="282" r:id="rId16"/>
    <p:sldId id="283" r:id="rId17"/>
    <p:sldId id="300" r:id="rId18"/>
    <p:sldId id="303" r:id="rId19"/>
    <p:sldId id="302" r:id="rId20"/>
    <p:sldId id="330" r:id="rId21"/>
    <p:sldId id="331" r:id="rId22"/>
    <p:sldId id="301" r:id="rId23"/>
    <p:sldId id="333" r:id="rId24"/>
    <p:sldId id="332" r:id="rId25"/>
    <p:sldId id="286" r:id="rId26"/>
    <p:sldId id="324" r:id="rId27"/>
    <p:sldId id="325" r:id="rId28"/>
    <p:sldId id="288" r:id="rId29"/>
    <p:sldId id="297" r:id="rId30"/>
    <p:sldId id="326" r:id="rId31"/>
    <p:sldId id="289" r:id="rId32"/>
    <p:sldId id="321" r:id="rId33"/>
    <p:sldId id="322" r:id="rId34"/>
    <p:sldId id="309" r:id="rId35"/>
    <p:sldId id="316" r:id="rId36"/>
    <p:sldId id="320" r:id="rId37"/>
    <p:sldId id="328" r:id="rId38"/>
    <p:sldId id="318" r:id="rId39"/>
    <p:sldId id="319" r:id="rId40"/>
    <p:sldId id="327" r:id="rId41"/>
    <p:sldId id="329" r:id="rId42"/>
    <p:sldId id="291" r:id="rId43"/>
    <p:sldId id="295" r:id="rId44"/>
    <p:sldId id="292" r:id="rId45"/>
    <p:sldId id="293" r:id="rId46"/>
    <p:sldId id="304" r:id="rId47"/>
    <p:sldId id="305" r:id="rId48"/>
    <p:sldId id="306" r:id="rId49"/>
    <p:sldId id="307" r:id="rId50"/>
    <p:sldId id="310" r:id="rId51"/>
    <p:sldId id="311" r:id="rId52"/>
    <p:sldId id="312" r:id="rId53"/>
    <p:sldId id="313" r:id="rId54"/>
    <p:sldId id="314" r:id="rId55"/>
    <p:sldId id="315" r:id="rId56"/>
    <p:sldId id="334" r:id="rId57"/>
    <p:sldId id="335" r:id="rId58"/>
    <p:sldId id="277" r:id="rId59"/>
    <p:sldId id="279" r:id="rId60"/>
    <p:sldId id="278" r:id="rId61"/>
    <p:sldId id="290" r:id="rId62"/>
    <p:sldId id="269" r:id="rId63"/>
    <p:sldId id="263" r:id="rId64"/>
    <p:sldId id="258" r:id="rId65"/>
    <p:sldId id="270" r:id="rId66"/>
    <p:sldId id="284" r:id="rId67"/>
    <p:sldId id="257" r:id="rId68"/>
    <p:sldId id="268" r:id="rId6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 id="285"/>
          </p14:sldIdLst>
        </p14:section>
        <p14:section name="background" id="{734442C7-9DFA-4163-AB0C-F6E41907FEF9}">
          <p14:sldIdLst>
            <p14:sldId id="260"/>
            <p14:sldId id="275"/>
            <p14:sldId id="261"/>
            <p14:sldId id="273"/>
            <p14:sldId id="274"/>
            <p14:sldId id="271"/>
            <p14:sldId id="276"/>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Notes" id="{BD5F37D2-34EC-4962-982B-3F5187946EDA}">
          <p14:sldIdLst>
            <p14:sldId id="277"/>
            <p14:sldId id="279"/>
            <p14:sldId id="278"/>
            <p14:sldId id="290"/>
            <p14:sldId id="269"/>
            <p14:sldId id="263"/>
            <p14:sldId id="258"/>
            <p14:sldId id="270"/>
            <p14:sldId id="284"/>
            <p14:sldId id="257"/>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2" autoAdjust="0"/>
    <p:restoredTop sz="84673" autoAdjust="0"/>
  </p:normalViewPr>
  <p:slideViewPr>
    <p:cSldViewPr snapToGrid="0">
      <p:cViewPr varScale="1">
        <p:scale>
          <a:sx n="72" d="100"/>
          <a:sy n="72" d="100"/>
        </p:scale>
        <p:origin x="10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5/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7</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5</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6</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7</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4</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Got error for test set that its not enough data to use GBM</a:t>
            </a:r>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a:t>Other idea: getting ALR on train data and giving same denominator to test data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7</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1</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18</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66069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4</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2109263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5/12/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5/12/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5/12/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5/12/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5/12/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5/12/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5/12/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5/12/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5/12/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724688" cy="4502847"/>
            <a:chOff x="332772" y="1539682"/>
            <a:chExt cx="11724688" cy="4502847"/>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853323" cy="4495593"/>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5/12/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5/12/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96461" y="723959"/>
            <a:ext cx="3710763" cy="369332"/>
          </a:xfrm>
          <a:prstGeom prst="rect">
            <a:avLst/>
          </a:prstGeom>
          <a:solidFill>
            <a:schemeClr val="bg1"/>
          </a:solidFill>
          <a:ln>
            <a:solidFill>
              <a:schemeClr val="tx1"/>
            </a:solidFill>
          </a:ln>
        </p:spPr>
        <p:txBody>
          <a:bodyPr wrap="square" rtlCol="0">
            <a:spAutoFit/>
          </a:bodyPr>
          <a:lstStyle/>
          <a:p>
            <a:pPr algn="ctr"/>
            <a:r>
              <a:rPr lang="de-DE" b="1" dirty="0">
                <a:solidFill>
                  <a:srgbClr val="FF0000"/>
                </a:solidFill>
              </a:rPr>
              <a:t>Include also imputation once</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4</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5</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6</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8</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58</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59</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Tree>
    <p:extLst>
      <p:ext uri="{BB962C8B-B14F-4D97-AF65-F5344CB8AC3E}">
        <p14:creationId xmlns:p14="http://schemas.microsoft.com/office/powerpoint/2010/main" val="3441935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5/12/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0</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2/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5/12/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3</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2/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2/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5</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5/12/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5/12/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67</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602449" y="1181536"/>
            <a:ext cx="4311293" cy="4311293"/>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32" name="TextBox 31">
            <a:extLst>
              <a:ext uri="{FF2B5EF4-FFF2-40B4-BE49-F238E27FC236}">
                <a16:creationId xmlns:a16="http://schemas.microsoft.com/office/drawing/2014/main" id="{A3B93664-412E-47BE-9D0B-5944E25B61FD}"/>
              </a:ext>
            </a:extLst>
          </p:cNvPr>
          <p:cNvSpPr txBox="1"/>
          <p:nvPr/>
        </p:nvSpPr>
        <p:spPr>
          <a:xfrm>
            <a:off x="1735587" y="4901796"/>
            <a:ext cx="6254527" cy="710451"/>
          </a:xfrm>
          <a:prstGeom prst="rect">
            <a:avLst/>
          </a:prstGeom>
          <a:noFill/>
        </p:spPr>
        <p:txBody>
          <a:bodyPr wrap="square">
            <a:spAutoFit/>
          </a:bodyPr>
          <a:lstStyle/>
          <a:p>
            <a:pPr>
              <a:lnSpc>
                <a:spcPct val="90000"/>
              </a:lnSpc>
              <a:spcAft>
                <a:spcPts val="450"/>
              </a:spcAft>
            </a:pPr>
            <a:r>
              <a:rPr lang="en-US" sz="2000" i="1" dirty="0"/>
              <a:t>Bioinformatics</a:t>
            </a:r>
          </a:p>
          <a:p>
            <a:pPr lvl="1">
              <a:lnSpc>
                <a:spcPct val="90000"/>
              </a:lnSpc>
              <a:spcAft>
                <a:spcPts val="450"/>
              </a:spcAft>
            </a:pPr>
            <a:r>
              <a:rPr lang="en-US" sz="2000" dirty="0"/>
              <a:t>Lucas </a:t>
            </a:r>
            <a:r>
              <a:rPr lang="en-US" sz="2000" dirty="0" err="1"/>
              <a:t>Moitinho</a:t>
            </a:r>
            <a:r>
              <a:rPr lang="en-US" sz="2000"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1795986" y="2286804"/>
            <a:ext cx="5998185" cy="710451"/>
          </a:xfrm>
          <a:prstGeom prst="rect">
            <a:avLst/>
          </a:prstGeom>
          <a:noFill/>
        </p:spPr>
        <p:txBody>
          <a:bodyPr wrap="square">
            <a:spAutoFit/>
          </a:bodyPr>
          <a:lstStyle/>
          <a:p>
            <a:pPr>
              <a:lnSpc>
                <a:spcPct val="90000"/>
              </a:lnSpc>
              <a:spcAft>
                <a:spcPts val="450"/>
              </a:spcAft>
            </a:pPr>
            <a:r>
              <a:rPr lang="en-US" sz="2000" i="1" dirty="0"/>
              <a:t>Supervisor</a:t>
            </a:r>
          </a:p>
          <a:p>
            <a:pPr lvl="1">
              <a:lnSpc>
                <a:spcPct val="90000"/>
              </a:lnSpc>
              <a:spcAft>
                <a:spcPts val="450"/>
              </a:spcAft>
            </a:pPr>
            <a:r>
              <a:rPr lang="en-US" sz="2000" dirty="0"/>
              <a:t>Oliver </a:t>
            </a:r>
            <a:r>
              <a:rPr lang="en-US" sz="2000" dirty="0" err="1"/>
              <a:t>Asmets</a:t>
            </a:r>
            <a:r>
              <a:rPr lang="en-US" sz="2000" dirty="0"/>
              <a:t> ()</a:t>
            </a:r>
          </a:p>
        </p:txBody>
      </p:sp>
      <p:sp>
        <p:nvSpPr>
          <p:cNvPr id="35" name="TextBox 34">
            <a:extLst>
              <a:ext uri="{FF2B5EF4-FFF2-40B4-BE49-F238E27FC236}">
                <a16:creationId xmlns:a16="http://schemas.microsoft.com/office/drawing/2014/main" id="{47287ECE-C4E5-4B11-BB50-8930F2931B5E}"/>
              </a:ext>
            </a:extLst>
          </p:cNvPr>
          <p:cNvSpPr txBox="1"/>
          <p:nvPr/>
        </p:nvSpPr>
        <p:spPr>
          <a:xfrm>
            <a:off x="1795986" y="979308"/>
            <a:ext cx="6194128" cy="710451"/>
          </a:xfrm>
          <a:prstGeom prst="rect">
            <a:avLst/>
          </a:prstGeom>
          <a:noFill/>
        </p:spPr>
        <p:txBody>
          <a:bodyPr wrap="square">
            <a:spAutoFit/>
          </a:bodyPr>
          <a:lstStyle/>
          <a:p>
            <a:pPr>
              <a:lnSpc>
                <a:spcPct val="90000"/>
              </a:lnSpc>
              <a:spcAft>
                <a:spcPts val="450"/>
              </a:spcAft>
            </a:pPr>
            <a:r>
              <a:rPr lang="en-US" sz="2000" i="1" dirty="0"/>
              <a:t>Project holder</a:t>
            </a:r>
          </a:p>
          <a:p>
            <a:pPr lvl="1">
              <a:lnSpc>
                <a:spcPct val="90000"/>
              </a:lnSpc>
              <a:spcAft>
                <a:spcPts val="450"/>
              </a:spcAft>
            </a:pPr>
            <a:r>
              <a:rPr lang="en-US" sz="2000" dirty="0"/>
              <a:t>Elin Org ()</a:t>
            </a:r>
          </a:p>
        </p:txBody>
      </p:sp>
      <p:sp>
        <p:nvSpPr>
          <p:cNvPr id="9" name="TextBox 8">
            <a:extLst>
              <a:ext uri="{FF2B5EF4-FFF2-40B4-BE49-F238E27FC236}">
                <a16:creationId xmlns:a16="http://schemas.microsoft.com/office/drawing/2014/main" id="{B51BD5DE-2048-480E-95D0-CF0A8C48246C}"/>
              </a:ext>
            </a:extLst>
          </p:cNvPr>
          <p:cNvSpPr txBox="1"/>
          <p:nvPr/>
        </p:nvSpPr>
        <p:spPr>
          <a:xfrm>
            <a:off x="1735587" y="3520816"/>
            <a:ext cx="5840870" cy="710451"/>
          </a:xfrm>
          <a:prstGeom prst="rect">
            <a:avLst/>
          </a:prstGeom>
          <a:noFill/>
        </p:spPr>
        <p:txBody>
          <a:bodyPr wrap="square">
            <a:spAutoFit/>
          </a:bodyPr>
          <a:lstStyle/>
          <a:p>
            <a:pPr>
              <a:lnSpc>
                <a:spcPct val="90000"/>
              </a:lnSpc>
              <a:spcAft>
                <a:spcPts val="450"/>
              </a:spcAft>
            </a:pPr>
            <a:r>
              <a:rPr lang="en-US" sz="2000" i="1" dirty="0"/>
              <a:t>Supervisor Kiel</a:t>
            </a:r>
          </a:p>
          <a:p>
            <a:pPr lvl="1">
              <a:lnSpc>
                <a:spcPct val="90000"/>
              </a:lnSpc>
              <a:spcAft>
                <a:spcPts val="450"/>
              </a:spcAft>
            </a:pPr>
            <a:r>
              <a:rPr lang="en-US" sz="2000" dirty="0"/>
              <a:t>Tal Dagan ()</a:t>
            </a:r>
          </a:p>
        </p:txBody>
      </p:sp>
      <p:sp>
        <p:nvSpPr>
          <p:cNvPr id="4" name="Date Placeholder 3">
            <a:extLst>
              <a:ext uri="{FF2B5EF4-FFF2-40B4-BE49-F238E27FC236}">
                <a16:creationId xmlns:a16="http://schemas.microsoft.com/office/drawing/2014/main" id="{FBA103E6-1C0F-49CA-AC5E-C9ACBAF44FEA}"/>
              </a:ext>
            </a:extLst>
          </p:cNvPr>
          <p:cNvSpPr>
            <a:spLocks noGrp="1"/>
          </p:cNvSpPr>
          <p:nvPr>
            <p:ph type="dt" sz="half" idx="10"/>
          </p:nvPr>
        </p:nvSpPr>
        <p:spPr/>
        <p:txBody>
          <a:bodyPr/>
          <a:lstStyle/>
          <a:p>
            <a:fld id="{524BA6AA-761D-44D9-9696-AC66CE044BF5}" type="datetime1">
              <a:rPr lang="en-US" smtClean="0"/>
              <a:t>5/12/2022</a:t>
            </a:fld>
            <a:endParaRPr lang="en-US" dirty="0"/>
          </a:p>
        </p:txBody>
      </p:sp>
      <p:sp>
        <p:nvSpPr>
          <p:cNvPr id="5" name="Footer Placeholder 4">
            <a:extLst>
              <a:ext uri="{FF2B5EF4-FFF2-40B4-BE49-F238E27FC236}">
                <a16:creationId xmlns:a16="http://schemas.microsoft.com/office/drawing/2014/main" id="{CA895326-8C62-4A87-A680-A746500235F0}"/>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9912DB58-738B-4637-8F7F-69BE65B9060C}"/>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870852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5/12/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3702</Words>
  <Application>Microsoft Office PowerPoint</Application>
  <PresentationFormat>Widescreen</PresentationFormat>
  <Paragraphs>624</Paragraphs>
  <Slides>68</Slides>
  <Notes>32</Notes>
  <HiddenSlides>1</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68</vt:i4>
      </vt:variant>
    </vt:vector>
  </HeadingPairs>
  <TitlesOfParts>
    <vt:vector size="74" baseType="lpstr">
      <vt:lpstr>Arial</vt:lpstr>
      <vt:lpstr>Calibri</vt:lpstr>
      <vt:lpstr>Century Gothic</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Pre-Processing</vt:lpstr>
      <vt:lpstr>Transformations</vt:lpstr>
      <vt:lpstr>Hierarchy dimensionality reduction</vt:lpstr>
      <vt:lpstr>mikropml</vt:lpstr>
      <vt:lpstr>Data set</vt:lpstr>
      <vt:lpstr>Amalgams</vt:lpstr>
      <vt:lpstr>Problems</vt:lpstr>
      <vt:lpstr>Notes 30.01. meeting</vt:lpstr>
      <vt:lpstr>Notes: 01.04. meeting</vt:lpstr>
      <vt:lpstr>Liter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23</cp:revision>
  <dcterms:created xsi:type="dcterms:W3CDTF">2022-01-12T16:41:21Z</dcterms:created>
  <dcterms:modified xsi:type="dcterms:W3CDTF">2022-05-12T17:22:30Z</dcterms:modified>
</cp:coreProperties>
</file>